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6</c:v>
                </c:pt>
                <c:pt idx="29">
                  <c:v>57</c:v>
                </c:pt>
                <c:pt idx="30">
                  <c:v>48</c:v>
                </c:pt>
                <c:pt idx="31">
                  <c:v>38</c:v>
                </c:pt>
                <c:pt idx="32">
                  <c:v>27</c:v>
                </c:pt>
                <c:pt idx="33">
                  <c:v>29</c:v>
                </c:pt>
                <c:pt idx="34">
                  <c:v>32</c:v>
                </c:pt>
                <c:pt idx="35">
                  <c:v>31</c:v>
                </c:pt>
                <c:pt idx="36">
                  <c:v>41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1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7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68</c:v>
                </c:pt>
                <c:pt idx="86">
                  <c:v>66</c:v>
                </c:pt>
                <c:pt idx="87">
                  <c:v>60</c:v>
                </c:pt>
                <c:pt idx="88">
                  <c:v>52</c:v>
                </c:pt>
                <c:pt idx="89">
                  <c:v>52</c:v>
                </c:pt>
                <c:pt idx="90">
                  <c:v>58</c:v>
                </c:pt>
                <c:pt idx="91">
                  <c:v>54</c:v>
                </c:pt>
                <c:pt idx="92">
                  <c:v>60</c:v>
                </c:pt>
                <c:pt idx="93">
                  <c:v>62</c:v>
                </c:pt>
                <c:pt idx="94">
                  <c:v>66</c:v>
                </c:pt>
                <c:pt idx="95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7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8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8</c:v>
                </c:pt>
                <c:pt idx="33">
                  <c:v>9</c:v>
                </c:pt>
                <c:pt idx="34">
                  <c:v>8</c:v>
                </c:pt>
                <c:pt idx="35">
                  <c:v>7</c:v>
                </c:pt>
                <c:pt idx="36">
                  <c:v>10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4</c:v>
                </c:pt>
                <c:pt idx="94">
                  <c:v>16</c:v>
                </c:pt>
                <c:pt idx="9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1</c:v>
                </c:pt>
                <c:pt idx="25">
                  <c:v>10</c:v>
                </c:pt>
                <c:pt idx="26">
                  <c:v>11</c:v>
                </c:pt>
                <c:pt idx="27">
                  <c:v>11</c:v>
                </c:pt>
                <c:pt idx="28">
                  <c:v>9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0</c:v>
                </c:pt>
                <c:pt idx="85">
                  <c:v>6</c:v>
                </c:pt>
                <c:pt idx="86">
                  <c:v>6</c:v>
                </c:pt>
                <c:pt idx="87">
                  <c:v>6</c:v>
                </c:pt>
                <c:pt idx="88">
                  <c:v>5</c:v>
                </c:pt>
                <c:pt idx="89">
                  <c:v>5</c:v>
                </c:pt>
                <c:pt idx="90">
                  <c:v>4</c:v>
                </c:pt>
                <c:pt idx="91">
                  <c:v>3</c:v>
                </c:pt>
                <c:pt idx="92">
                  <c:v>2</c:v>
                </c:pt>
                <c:pt idx="93">
                  <c:v>2</c:v>
                </c:pt>
                <c:pt idx="94">
                  <c:v>1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7</c:v>
                </c:pt>
                <c:pt idx="67">
                  <c:v>563</c:v>
                </c:pt>
                <c:pt idx="68">
                  <c:v>565</c:v>
                </c:pt>
                <c:pt idx="69">
                  <c:v>572</c:v>
                </c:pt>
                <c:pt idx="70">
                  <c:v>579</c:v>
                </c:pt>
                <c:pt idx="71">
                  <c:v>586</c:v>
                </c:pt>
                <c:pt idx="72">
                  <c:v>591</c:v>
                </c:pt>
                <c:pt idx="73">
                  <c:v>597</c:v>
                </c:pt>
                <c:pt idx="74">
                  <c:v>606</c:v>
                </c:pt>
                <c:pt idx="75">
                  <c:v>611</c:v>
                </c:pt>
                <c:pt idx="76">
                  <c:v>621</c:v>
                </c:pt>
                <c:pt idx="77">
                  <c:v>628</c:v>
                </c:pt>
                <c:pt idx="78">
                  <c:v>637</c:v>
                </c:pt>
                <c:pt idx="79">
                  <c:v>647</c:v>
                </c:pt>
                <c:pt idx="80">
                  <c:v>657</c:v>
                </c:pt>
                <c:pt idx="81">
                  <c:v>663</c:v>
                </c:pt>
                <c:pt idx="82">
                  <c:v>669</c:v>
                </c:pt>
                <c:pt idx="83">
                  <c:v>677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6</c:v>
                </c:pt>
                <c:pt idx="93">
                  <c:v>755</c:v>
                </c:pt>
                <c:pt idx="94">
                  <c:v>764</c:v>
                </c:pt>
                <c:pt idx="95">
                  <c:v>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1</c:v>
                </c:pt>
                <c:pt idx="95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1</c:v>
                </c:pt>
                <c:pt idx="93">
                  <c:v>21</c:v>
                </c:pt>
                <c:pt idx="94">
                  <c:v>21</c:v>
                </c:pt>
                <c:pt idx="95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5</c:v>
                </c:pt>
                <c:pt idx="67">
                  <c:v>25</c:v>
                </c:pt>
                <c:pt idx="68">
                  <c:v>25</c:v>
                </c:pt>
                <c:pt idx="69">
                  <c:v>26</c:v>
                </c:pt>
                <c:pt idx="70">
                  <c:v>26</c:v>
                </c:pt>
                <c:pt idx="71">
                  <c:v>27</c:v>
                </c:pt>
                <c:pt idx="72">
                  <c:v>27</c:v>
                </c:pt>
                <c:pt idx="73">
                  <c:v>27</c:v>
                </c:pt>
                <c:pt idx="74">
                  <c:v>27</c:v>
                </c:pt>
                <c:pt idx="75">
                  <c:v>28</c:v>
                </c:pt>
                <c:pt idx="76">
                  <c:v>28</c:v>
                </c:pt>
                <c:pt idx="77">
                  <c:v>29</c:v>
                </c:pt>
                <c:pt idx="78">
                  <c:v>29</c:v>
                </c:pt>
                <c:pt idx="79">
                  <c:v>29</c:v>
                </c:pt>
                <c:pt idx="80">
                  <c:v>29</c:v>
                </c:pt>
                <c:pt idx="81">
                  <c:v>30</c:v>
                </c:pt>
                <c:pt idx="82">
                  <c:v>30</c:v>
                </c:pt>
                <c:pt idx="83">
                  <c:v>30</c:v>
                </c:pt>
                <c:pt idx="84">
                  <c:v>31</c:v>
                </c:pt>
                <c:pt idx="85">
                  <c:v>31</c:v>
                </c:pt>
                <c:pt idx="86">
                  <c:v>31</c:v>
                </c:pt>
                <c:pt idx="87">
                  <c:v>31</c:v>
                </c:pt>
                <c:pt idx="88">
                  <c:v>31</c:v>
                </c:pt>
                <c:pt idx="89">
                  <c:v>31</c:v>
                </c:pt>
                <c:pt idx="90">
                  <c:v>31</c:v>
                </c:pt>
                <c:pt idx="91">
                  <c:v>31</c:v>
                </c:pt>
                <c:pt idx="92">
                  <c:v>32</c:v>
                </c:pt>
                <c:pt idx="93">
                  <c:v>32</c:v>
                </c:pt>
                <c:pt idx="94">
                  <c:v>32</c:v>
                </c:pt>
                <c:pt idx="95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2</c:v>
                </c:pt>
                <c:pt idx="95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3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4</c:v>
                </c:pt>
                <c:pt idx="86">
                  <c:v>3</c:v>
                </c:pt>
                <c:pt idx="87">
                  <c:v>3</c:v>
                </c:pt>
                <c:pt idx="88">
                  <c:v>4</c:v>
                </c:pt>
                <c:pt idx="89">
                  <c:v>5</c:v>
                </c:pt>
                <c:pt idx="90">
                  <c:v>4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3</c:v>
                </c:pt>
                <c:pt idx="85">
                  <c:v>83</c:v>
                </c:pt>
                <c:pt idx="86">
                  <c:v>85</c:v>
                </c:pt>
                <c:pt idx="87">
                  <c:v>86</c:v>
                </c:pt>
                <c:pt idx="88">
                  <c:v>86</c:v>
                </c:pt>
                <c:pt idx="89">
                  <c:v>86</c:v>
                </c:pt>
                <c:pt idx="90">
                  <c:v>86</c:v>
                </c:pt>
                <c:pt idx="91">
                  <c:v>86</c:v>
                </c:pt>
                <c:pt idx="92">
                  <c:v>86</c:v>
                </c:pt>
                <c:pt idx="93">
                  <c:v>86</c:v>
                </c:pt>
                <c:pt idx="94">
                  <c:v>86</c:v>
                </c:pt>
                <c:pt idx="95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9</c:v>
                </c:pt>
                <c:pt idx="85">
                  <c:v>8</c:v>
                </c:pt>
                <c:pt idx="86">
                  <c:v>8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3</c:v>
                </c:pt>
                <c:pt idx="92">
                  <c:v>4</c:v>
                </c:pt>
                <c:pt idx="93">
                  <c:v>3</c:v>
                </c:pt>
                <c:pt idx="94">
                  <c:v>4</c:v>
                </c:pt>
                <c:pt idx="9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48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4">
                  <c:v>9</c:v>
                </c:pt>
                <c:pt idx="9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9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9.xml"/><Relationship Id="rId4" Type="http://schemas.openxmlformats.org/officeDocument/2006/relationships/tags" Target="../tags/tag60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chart" Target="../charts/chart10.xml"/><Relationship Id="rId4" Type="http://schemas.openxmlformats.org/officeDocument/2006/relationships/tags" Target="../tags/tag67.xml"/><Relationship Id="rId9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chart" Target="../charts/chart11.xml"/><Relationship Id="rId4" Type="http://schemas.openxmlformats.org/officeDocument/2006/relationships/tags" Target="../tags/tag74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chart" Target="../charts/chart12.xml"/><Relationship Id="rId5" Type="http://schemas.openxmlformats.org/officeDocument/2006/relationships/tags" Target="../tags/tag82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chart" Target="../charts/chart13.xml"/><Relationship Id="rId4" Type="http://schemas.openxmlformats.org/officeDocument/2006/relationships/tags" Target="../tags/tag89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5.xml"/><Relationship Id="rId4" Type="http://schemas.openxmlformats.org/officeDocument/2006/relationships/tags" Target="../tags/tag103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10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17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19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22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chart" Target="../charts/chart2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chart" Target="../charts/chart24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chart" Target="../charts/chart2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chart" Target="../charts/chart26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chart" Target="../charts/chart27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chart" Target="../charts/chart2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chart" Target="../charts/chart29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chart" Target="../charts/chart3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chart" Target="../charts/chart5.xml"/><Relationship Id="rId4" Type="http://schemas.openxmlformats.org/officeDocument/2006/relationships/tags" Target="../tags/tag31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6.xml"/><Relationship Id="rId4" Type="http://schemas.openxmlformats.org/officeDocument/2006/relationships/tags" Target="../tags/tag38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chart" Target="../charts/chart7.xml"/><Relationship Id="rId5" Type="http://schemas.openxmlformats.org/officeDocument/2006/relationships/tags" Target="../tags/tag46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45.xml"/><Relationship Id="rId9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chart" Target="../charts/chart8.xml"/><Relationship Id="rId4" Type="http://schemas.openxmlformats.org/officeDocument/2006/relationships/tags" Target="../tags/tag53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: léto 2021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5111240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2BF10F7-D94B-4B21-90CF-91EA5F02249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3844147"/>
              </p:ext>
            </p:extLst>
          </p:nvPr>
        </p:nvGraphicFramePr>
        <p:xfrm>
          <a:off x="2531085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0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5D9AEC0-FA29-476D-957A-EB71DC8F9D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241083" y="283274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82262C1-6B51-41F2-87D2-15364E0AA8E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225810" y="3285525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7BD8A7-E253-40A4-A3B8-FCA20B6DDF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E004D2C7-90FE-4692-AF7F-E501528768E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71346296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096626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BF09E9A-E263-46E5-9256-46560249D7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7495054"/>
              </p:ext>
            </p:extLst>
          </p:nvPr>
        </p:nvGraphicFramePr>
        <p:xfrm>
          <a:off x="2024008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354CC28-4893-4F83-B0FD-DEDDF566756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41AD698A-E875-4F84-B9F0-68363D5CC55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686409B-810F-43A8-B9F9-FBAB058705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E006453-2C75-4002-A1B8-1F4AF98BC6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85442995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665745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4708DC-A3DE-4CDC-82C5-BFA1A398F23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22181859"/>
              </p:ext>
            </p:extLst>
          </p:nvPr>
        </p:nvGraphicFramePr>
        <p:xfrm>
          <a:off x="17912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9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C2D2D4-7AC2-48AB-94E1-95BE397A504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16434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EA766A0-FCAA-4CB7-9BFC-E3DC1C3DD43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617122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1E43515-9B73-4D2D-8AC1-C8B00E9005F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26ED2F52-8E11-43E1-B4F1-E0A8E03149F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47628507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667467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2367BC7-531E-4B4F-8461-1DF7CD5602D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34231956"/>
              </p:ext>
            </p:extLst>
          </p:nvPr>
        </p:nvGraphicFramePr>
        <p:xfrm>
          <a:off x="22484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95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EAF65E1-A59E-4300-9364-9A0A3F4DD2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B6165FC-60FA-4FA3-B705-8996B6A3F19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D1F8752-3E9F-41EF-8AE8-0DE8CCE73C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1D82CFF-BCAB-498C-86DC-C3F6BAEB74B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4241209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7829868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A855258-28D8-4BB4-914F-1402A0C4C0F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70397858"/>
              </p:ext>
            </p:extLst>
          </p:nvPr>
        </p:nvGraphicFramePr>
        <p:xfrm>
          <a:off x="2015695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4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8D2980C-5B55-44E7-A1AF-C4058FF99F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82025AF-3A6F-4303-8C6E-3C48E939E8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9627F2A-5D81-4A1C-9EAE-538B604B98C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2BFE570-DBF1-474F-A9DA-EC6D0B91F3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35633545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1285961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C2F8B52-812C-4546-B2AA-3097D2E6026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08434240"/>
              </p:ext>
            </p:extLst>
          </p:nvPr>
        </p:nvGraphicFramePr>
        <p:xfrm>
          <a:off x="157512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2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764DFFB-3610-4B34-87A8-69A4523F10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357B7A9-C7A0-4FCA-BF02-2CBD516CFEB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301E17F-9226-495D-B5D5-7B701DC413D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586C44B-1AC4-4B1C-8585-D506E27C75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50255173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126110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ADA3048-BFCF-4927-904A-66D46D19D99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5870260"/>
              </p:ext>
            </p:extLst>
          </p:nvPr>
        </p:nvGraphicFramePr>
        <p:xfrm>
          <a:off x="2531087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7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1D11F102-2EE6-474C-B87C-68B6FCE7A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165E59C-48AC-4B5E-9077-3C5881A9948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A27A002-603D-498E-8323-36BD6B79940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5B8434C-3039-46F4-947E-844732AFFE9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7356954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: léto 2021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198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131210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21857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610424-D73D-4C5C-A95B-9D72D98FA41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6028196"/>
              </p:ext>
            </p:extLst>
          </p:nvPr>
        </p:nvGraphicFramePr>
        <p:xfrm>
          <a:off x="2061557" y="1018803"/>
          <a:ext cx="7732098" cy="5463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209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41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8683081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46959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95844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71470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4720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1601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73411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54566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98675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734913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831237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486935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664A475-26EB-4F58-9146-C5BA8BF4646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4368113"/>
              </p:ext>
            </p:extLst>
          </p:nvPr>
        </p:nvGraphicFramePr>
        <p:xfrm>
          <a:off x="1744421" y="1018804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85854" y="268202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CB0F3B0-2E34-4718-B978-9A3FAD155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54989" y="3134800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694FD7-3EB1-4050-90D7-D5E654D5D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76131E0-EF59-4290-9D6B-FF72D88DF8E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7049326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174661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885922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04137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465741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5B9F19-304A-4AB9-B026-9CB87A79F66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9559462"/>
              </p:ext>
            </p:extLst>
          </p:nvPr>
        </p:nvGraphicFramePr>
        <p:xfrm>
          <a:off x="208220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3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BC6820-88EC-4952-BFEF-CFC5362F632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13990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FC62F21-4438-4584-A4DF-6C86B5C030F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F94AF42-8D7A-4D82-A8EF-4167838015D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3671CC7-0F72-4CD6-875A-CE77494830E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13986706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166839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2CC88DA-88DC-4D1A-A22F-2C2FCA404FF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41114046"/>
              </p:ext>
            </p:extLst>
          </p:nvPr>
        </p:nvGraphicFramePr>
        <p:xfrm>
          <a:off x="184465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1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42116359-A2A4-4C07-A690-42C091F80A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11E8FB0-C241-498D-81A0-BE0E8E303A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9FB172C-452A-452B-9F97-B47D041E88D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C7A0094-BAAF-4F1A-BCAE-D0280CF327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97675872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37666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1BCFB7A-66A4-4617-B469-A1DBEEEC5EF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14946906"/>
              </p:ext>
            </p:extLst>
          </p:nvPr>
        </p:nvGraphicFramePr>
        <p:xfrm>
          <a:off x="175800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1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EAB70E8-3DC9-4710-BD52-B3BDB12D7AE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280260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94D27E1D-70E1-46CD-A194-3C5B21950D4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255379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FD94F95-60C1-4851-9BDF-FD1F00C078A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54655968-BFBD-45A6-8008-CA6B2ECE0B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56102858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1091492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94B22AB-4815-455C-BE67-B59B9F7FD61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3660340"/>
              </p:ext>
            </p:extLst>
          </p:nvPr>
        </p:nvGraphicFramePr>
        <p:xfrm>
          <a:off x="2065573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9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1DA24AD-4286-47DC-8255-59BCC9CDD29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750665" y="319077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EA920A1-25EA-480F-837E-333666CFC75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735392" y="3643556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BDE2BF-6CC9-417E-A427-1F97E39336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10E4CF7-09ED-4B66-AF29-F4EFDBA45E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0524058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744027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61249D4-3D81-4C73-A16C-44BE7C6072A7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62033099"/>
              </p:ext>
            </p:extLst>
          </p:nvPr>
        </p:nvGraphicFramePr>
        <p:xfrm>
          <a:off x="166656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9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D554EFA6-5EFF-4FBC-9726-63B7D9432F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443019E-419B-4DE9-9D9E-01D0737AAB1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DC21165-0714-40E1-8D10-34EA8218450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F23BB65-688E-4DF0-93C9-8D81E8A009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26177908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27930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F39A3F26-3933-4877-95EA-ACD985EC8E8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46745416"/>
              </p:ext>
            </p:extLst>
          </p:nvPr>
        </p:nvGraphicFramePr>
        <p:xfrm>
          <a:off x="1874382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9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C54822A-1438-42D8-85B2-7594715B16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BCD75013-BDF6-4437-89D4-DAE4E31EC34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D1D6B6C5-6CBE-4674-99A8-1006BEB1A24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4A45C6-248D-4CDE-AC16-13782163FC4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07814326"/>
              </p:ext>
            </p:extLst>
          </p:nvPr>
        </p:nvGraphicFramePr>
        <p:xfrm>
          <a:off x="6538335" y="1016672"/>
          <a:ext cx="5405638" cy="143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0</TotalTime>
  <Words>1683</Words>
  <Application>Microsoft Office PowerPoint</Application>
  <PresentationFormat>Širokoúhlá obrazovka</PresentationFormat>
  <Paragraphs>678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22</cp:revision>
  <dcterms:created xsi:type="dcterms:W3CDTF">2021-03-07T17:05:03Z</dcterms:created>
  <dcterms:modified xsi:type="dcterms:W3CDTF">2021-09-07T02:06:35Z</dcterms:modified>
</cp:coreProperties>
</file>